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custDataLst>
    <p:tags r:id="rId4"/>
  </p:custDataLst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87"/>
    <p:restoredTop sz="94638"/>
  </p:normalViewPr>
  <p:slideViewPr>
    <p:cSldViewPr snapToGrid="0">
      <p:cViewPr varScale="1">
        <p:scale>
          <a:sx n="113" d="100"/>
          <a:sy n="113" d="100"/>
        </p:scale>
        <p:origin x="2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378104875804967E-2"/>
          <c:y val="3.6322995250069851E-2"/>
          <c:w val="0.91291015026065625"/>
          <c:h val="0.86728136350936014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0">
                  <c:v>172</c:v>
                </c:pt>
                <c:pt idx="1">
                  <c:v>206</c:v>
                </c:pt>
                <c:pt idx="2">
                  <c:v>602</c:v>
                </c:pt>
                <c:pt idx="3">
                  <c:v>41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17.3</c:v>
                </c:pt>
                <c:pt idx="1">
                  <c:v>3.6</c:v>
                </c:pt>
                <c:pt idx="2">
                  <c:v>2</c:v>
                </c:pt>
                <c:pt idx="3">
                  <c:v>0.08</c:v>
                </c:pt>
              </c:numCache>
            </c:numRef>
          </c:yVal>
          <c:bubbleSize>
            <c:numRef>
              <c:f>Sheet1!$C$1:$C$10</c:f>
              <c:numCache>
                <c:formatCode>General</c:formatCode>
                <c:ptCount val="10"/>
                <c:pt idx="0">
                  <c:v>9.9421965317919074</c:v>
                </c:pt>
                <c:pt idx="1">
                  <c:v>56.7</c:v>
                </c:pt>
                <c:pt idx="2">
                  <c:v>352.2</c:v>
                </c:pt>
                <c:pt idx="3">
                  <c:v>496.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6202-C144-A7CA-3B8C3077382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4">
                  <c:v>1018</c:v>
                </c:pt>
                <c:pt idx="5">
                  <c:v>376</c:v>
                </c:pt>
                <c:pt idx="6">
                  <c:v>298</c:v>
                </c:pt>
              </c:numCache>
            </c:numRef>
          </c:xVal>
          <c:yVal>
            <c:numRef>
              <c:f>Sheet1!$D$1:$D$10</c:f>
              <c:numCache>
                <c:formatCode>General</c:formatCode>
                <c:ptCount val="10"/>
                <c:pt idx="4">
                  <c:v>31</c:v>
                </c:pt>
                <c:pt idx="5">
                  <c:v>56</c:v>
                </c:pt>
                <c:pt idx="6">
                  <c:v>10</c:v>
                </c:pt>
              </c:numCache>
            </c:numRef>
          </c:yVal>
          <c:bubbleSize>
            <c:numRef>
              <c:f>Sheet1!$E$1:$E$10</c:f>
              <c:numCache>
                <c:formatCode>General</c:formatCode>
                <c:ptCount val="10"/>
                <c:pt idx="4">
                  <c:v>33.1</c:v>
                </c:pt>
                <c:pt idx="5">
                  <c:v>6.7</c:v>
                </c:pt>
                <c:pt idx="6">
                  <c:v>28.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6202-C144-A7CA-3B8C30773820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invertIfNegative val="0"/>
          <c:xVal>
            <c:numRef>
              <c:f>Sheet1!$A$1:$A$10</c:f>
              <c:numCache>
                <c:formatCode>General</c:formatCode>
                <c:ptCount val="10"/>
                <c:pt idx="7">
                  <c:v>231</c:v>
                </c:pt>
                <c:pt idx="8">
                  <c:v>19</c:v>
                </c:pt>
                <c:pt idx="9">
                  <c:v>3</c:v>
                </c:pt>
              </c:numCache>
            </c:numRef>
          </c:xVal>
          <c:yVal>
            <c:numRef>
              <c:f>Sheet1!$F$1:$F$10</c:f>
              <c:numCache>
                <c:formatCode>General</c:formatCode>
                <c:ptCount val="10"/>
                <c:pt idx="7">
                  <c:v>27</c:v>
                </c:pt>
                <c:pt idx="8">
                  <c:v>5</c:v>
                </c:pt>
                <c:pt idx="9">
                  <c:v>7</c:v>
                </c:pt>
              </c:numCache>
            </c:numRef>
          </c:yVal>
          <c:bubbleSize>
            <c:numRef>
              <c:f>Sheet1!$G$1:$G$10</c:f>
              <c:numCache>
                <c:formatCode>General</c:formatCode>
                <c:ptCount val="10"/>
                <c:pt idx="7">
                  <c:v>8.6</c:v>
                </c:pt>
                <c:pt idx="8">
                  <c:v>4.0999999999999996</c:v>
                </c:pt>
                <c:pt idx="9">
                  <c:v>0.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6202-C144-A7CA-3B8C307738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95"/>
        <c:showNegBubbles val="0"/>
        <c:axId val="1785577120"/>
        <c:axId val="1"/>
      </c:bubbleChart>
      <c:valAx>
        <c:axId val="1785577120"/>
        <c:scaling>
          <c:orientation val="minMax"/>
          <c:max val="1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"/>
        <c:crosses val="min"/>
        <c:crossBetween val="midCat"/>
        <c:majorUnit val="100"/>
      </c:val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785577120"/>
        <c:crosses val="min"/>
        <c:crossBetween val="midCat"/>
        <c:majorUnit val="5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F5BE3F-9D98-FA41-84E9-7FA4FE936159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9374EB-6573-314E-AC75-AE4062D853A5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760094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374EB-6573-314E-AC75-AE4062D853A5}" type="slidenum">
              <a:rPr lang="en-CH" smtClean="0"/>
              <a:t>1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83182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FBA41-17AF-1B32-8CB8-A7C51E7512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62E7F-BFF9-E327-533A-0A73FF02D4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A15D07-8F74-A8CF-D043-0735C0701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D7C0B4-AF83-18F9-AFFE-1E8420C18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6C2CC6-9512-E388-E35C-CBF24F83D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820759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07F6B-7D91-2164-5494-5BE459D6F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C2C8D2-4B17-D147-1D7F-88A776B023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F2E8B-2B2B-FE8A-328D-28BB212F7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5D8871-296B-F793-419F-AFC525811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ADA79-F8C6-6B63-FFE4-A56D0A709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44093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6A4169-D183-9598-10AE-08F8B693FE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22DEBA-F126-32D6-1B49-669C8B611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25F36E-CE44-1877-E332-F0F905052A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5720E-7B0C-3D3E-FF3D-ACE9EB8D2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B9066C-90C5-F47A-9DB6-7CF0C5330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992339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CB6EC-6D47-DA41-9EC5-AC20963AC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F6FE37-7B44-B63B-CBE2-7CD7F40D99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3369B7-04F5-CFFC-A0C0-E4C30510D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1B96E3-E0DD-392A-71EA-A4C4F6783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9B985D-2597-D00C-33A7-374B39D72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437364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17E4D-7EEA-4982-5B28-3D63C42CC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76CB13-69FA-0FF2-F9F0-1B11C15968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957D58-47DB-B363-0F90-1C09BE405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C1807E-F77B-C51C-CEB0-ADC684AEA8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CA2D79-22EE-4944-A2A1-8E8780CCD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56744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62C65-A5FC-DF46-2794-D75DB593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E6068C-6D19-A600-A316-B9981A6C8B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5E0B0E-66B2-3AA8-D0A5-074A3A6D2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3244C6-F1BC-65F5-484B-4342215A9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5F3260-4187-3648-691A-A6A71DDB5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9F22EF-EFBA-D3AC-C00E-52FB6FAB2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684022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47FAE-CD7B-6CB6-85C0-FC73F4C88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9590B-EE59-AF24-22D8-DA37B9051C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858DF1-9319-4F09-F1E8-F9B68B7B97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217F6D-D052-8C0E-4407-910A1AB8AE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3862F8-EAD6-561C-AE49-6650B12F19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E79A91-E9A7-8CFE-28AE-ED21FC6EC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90E7AB-2752-75FD-C710-8668049C9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F8FF05-408A-4653-54DD-3B4B21BF0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58385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0C038-CEFE-1001-820A-CB53CF383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8C68EF-1904-3E41-4B5C-2514CA5E8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B79A7E-368B-6E43-C8FB-C6D434014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89349A-02CC-B0F6-F23C-992A79896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98374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0F6C92-B265-FC6D-7677-7A1A53550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D0D7B6-B079-981B-F526-7FB18E4DC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405A84-8AC7-E089-1FEB-EA59F4434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042295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E8A48-B5DB-0E30-AD44-7B542AF8E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520849-CE29-A6FE-D464-41F8ECBA8C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583217-CFC9-746A-BBBB-39E29F2440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24A946-9EF0-510A-DB2C-8740BF385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ABCFEE-ACE9-5FC1-67D5-7E973C7752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C6D13D-3F78-84FA-FE84-A734D151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7598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89415-EE42-2C82-2F00-0A6CF45B0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7FB7E2-4426-78B1-7C97-26EAB622AE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B61066-1971-8317-F232-8CA51D581B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52BBE5-B471-4461-84D0-5B1BB9D0E7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A17854-39FF-25B4-A624-0115520F9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CE9EC8-EDDC-8F75-92FE-A7ADCFF77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0460337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7740377-C93D-7A60-8C32-A7EF45281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004842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7C2561-EF69-72BE-B42A-B25F63600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35517B-90D8-9304-5F8D-5A2AE5BB99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D8D18D-43F3-341C-9B2E-95A4FCDD92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FD18712-67A5-D449-B97C-11010A889F2B}" type="datetimeFigureOut">
              <a:rPr lang="en-CH" smtClean="0"/>
              <a:t>22.10.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F9F8A7-1C3C-7116-95A4-248073684F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B55CC9-DBE3-F9CA-28D5-DBF05F6969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75224FC-2488-404E-BD76-799035E7028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028414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oleObject" Target="../embeddings/oleObject2.bin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notesSlide" Target="../notesSlides/notesSlide1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slideLayout" Target="../slideLayouts/slideLayout1.xml"/><Relationship Id="rId30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6B3F118-D83B-607B-1939-6212D1DB93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7877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7772400" imgH="10058400" progId="TCLayout.ActiveDocument.1">
                  <p:embed/>
                </p:oleObj>
              </mc:Choice>
              <mc:Fallback>
                <p:oleObj name="think-cell Slide" r:id="rId2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BA9E438-0E8B-FEAF-E3FF-198487D18E4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48180"/>
              </p:ext>
            </p:extLst>
          </p:nvPr>
        </p:nvGraphicFramePr>
        <p:xfrm>
          <a:off x="339725" y="533400"/>
          <a:ext cx="10353675" cy="568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8A15B063-5DF3-CF32-ED7B-ADD6651A542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H="1">
            <a:off x="863600" y="4506913"/>
            <a:ext cx="293688" cy="569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D566D557-5005-7FBD-3B49-7E781C65E75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716088" y="5060950"/>
            <a:ext cx="504825" cy="292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E0FED8A-B4DA-CD88-5566-863653D205F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1030288" y="4011613"/>
            <a:ext cx="1052513" cy="1203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B0BA58B-662A-D8DE-8EDB-D8808DC8421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 flipV="1">
            <a:off x="2808288" y="5378450"/>
            <a:ext cx="180975" cy="6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092C800-49A1-8B8E-DB84-5B5433D8C30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911475" y="3354388"/>
            <a:ext cx="960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16FC3294-86FC-4478-A0EA-C95588C01A3B}" type="datetime'''V''''''''''''''o''lks''''''''''w''a''''''''g''e''''''n''''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Volkswagen</a:t>
            </a:fld>
            <a:endParaRPr lang="en-GB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4AC58DE-DA36-F0E2-E498-D533A800A6D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989263" y="5316538"/>
            <a:ext cx="1604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63EC4D61-0D2D-48C9-A4CF-557139DCF470}" type="datetime'D''''''eut''s''''che'''''''' L''uf''''''t''han''s''''''a''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Deutsche Lufthansa</a:t>
            </a:fld>
            <a:endParaRPr lang="en-GB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49ECEBB-4348-3C4C-6284-F4C16EE3F08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148138" y="973138"/>
            <a:ext cx="434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09DF732B-D426-4894-974D-323A08D06E95}" type="datetime'''''''''S''''''''''''''h''''''''''''''''''''''''e''l''''l''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Shell</a:t>
            </a:fld>
            <a:endParaRPr lang="en-GB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0076FAB-BDEF-BCEF-6D7C-ED812350040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140200" y="6135688"/>
            <a:ext cx="28321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C5473C2-3D29-4849-A93F-EDF8005BF262}" type="datetime'''ETS co''st es''t''i''mat''''''e ''in'''' m''il''lion USD'''">
              <a:rPr lang="en-GB" altLang="en-US" sz="1600" smtClean="0"/>
              <a:pPr/>
              <a:t>ETS cost estimate in million USD</a:t>
            </a:fld>
            <a:endParaRPr lang="en-GB" sz="16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F16822E-1576-B90A-2DB7-ED386FCC6B9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9752013" y="3025775"/>
            <a:ext cx="290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AC4B08D5-2E50-4A3D-8553-1F5A4E0DFDC5}" type="datetime'''''''''''''''E''''''''''''''''''''''''''''''''''''''''''ni'''">
              <a:rPr lang="en-GB" altLang="en-US" sz="1400" smtClean="0"/>
              <a:pPr/>
              <a:t>Eni</a:t>
            </a:fld>
            <a:endParaRPr lang="en-GB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C5DA67B-6020-AE6C-DFEC-005B2E8D750E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537325" y="5408613"/>
            <a:ext cx="1263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DF647595-4DE4-47C7-93B9-FC6101FCD467}" type="datetime'''Ry''anair'''' ''H''''''''o''''ld''''in''''''''g''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Ryanair Holding</a:t>
            </a:fld>
            <a:endParaRPr lang="en-GB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43D892C-3D78-C802-BCA9-5561EBF92AD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533525" y="4868863"/>
            <a:ext cx="1711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8748E60A-196D-479F-8F69-23F8CA4251B9}" type="datetime'''No''rweg''ia''''n Air S''h''''''''''''''u''''''''tt''l''e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Norwegian Air Shuttle</a:t>
            </a:fld>
            <a:endParaRPr lang="en-GB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A6EDC5-397F-1E89-0725-03DFDE9187A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411413" y="4151313"/>
            <a:ext cx="695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B60F3CF-3336-499F-ADE4-E5199343F923}" type="datetime'''e''a''''''''''''''''''''''sy''''J''''''e''''''t''''*'''''">
              <a:rPr lang="en-GB" altLang="en-US" sz="1400" smtClean="0"/>
              <a:pPr/>
              <a:t>easyJet*</a:t>
            </a:fld>
            <a:endParaRPr lang="en-GB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5714BB9-3AB4-291F-A73F-0B2CD49D90D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554413" y="4751388"/>
            <a:ext cx="2619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987D5EEE-1F4C-4E31-A4F2-180C50786A23}" type="datetime'''B''''''''''P''''''''''''''''''''''''''''''''''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BP</a:t>
            </a:fld>
            <a:endParaRPr lang="en-GB" sz="14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4ED79BD-9835-676E-A6D1-9E25685DC27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977900" y="43148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7B4EBBF8-90E5-4CB1-B868-B45CD5B27E4C}" type="datetime'''''''''''''''''''''BM''W''''''''''''''''''''''''''''''''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BMW</a:t>
            </a:fld>
            <a:endParaRPr lang="en-GB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98A3F95-F3CF-EEA1-4BA4-43B885A35EE5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1600" y="1073150"/>
            <a:ext cx="219075" cy="426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EC7F195-1B40-457C-8911-2E6885413240}" type="datetime'Upper ''carbon'' c''redit'' co''st estimate in m''illion USD'">
              <a:rPr lang="en-GB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Upper carbon credit cost estimate in million USD</a:t>
            </a:fld>
            <a:endParaRPr lang="en-GB" sz="16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B14141C-403E-863A-56F2-F9E009A8107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285875" y="3819525"/>
            <a:ext cx="1762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D52EFA77-8AD5-4A77-87E8-018E032907F7}" type="datetime'Mer''''''''''c''''ede''''''''''s''''-Be''n''z Gr''''''ou''''p'">
              <a:rPr lang="en-GB" altLang="en-US" sz="1400" smtClean="0"/>
              <a:pPr algn="l">
                <a:spcBef>
                  <a:spcPct val="0"/>
                </a:spcBef>
                <a:spcAft>
                  <a:spcPct val="0"/>
                </a:spcAft>
              </a:pPr>
              <a:t>Mercedes-Benz Group</a:t>
            </a:fld>
            <a:endParaRPr lang="en-GB" sz="1400" dirty="0"/>
          </a:p>
        </p:txBody>
      </p:sp>
      <p:sp>
        <p:nvSpPr>
          <p:cNvPr id="285" name="Oval 284">
            <a:extLst>
              <a:ext uri="{FF2B5EF4-FFF2-40B4-BE49-F238E27FC236}">
                <a16:creationId xmlns:a16="http://schemas.microsoft.com/office/drawing/2014/main" id="{43AACCE1-656A-E6AC-A904-8BC41FCB80B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521949" y="1431924"/>
            <a:ext cx="215900" cy="2159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91" name="Oval 290">
            <a:extLst>
              <a:ext uri="{FF2B5EF4-FFF2-40B4-BE49-F238E27FC236}">
                <a16:creationId xmlns:a16="http://schemas.microsoft.com/office/drawing/2014/main" id="{505324BF-DC6B-934C-ED90-96ECE7DDA52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521949" y="1714499"/>
            <a:ext cx="215900" cy="215900"/>
          </a:xfrm>
          <a:prstGeom prst="ellipse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B042AA50-08E6-3636-5918-98D71CBFEEA1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521949" y="1997075"/>
            <a:ext cx="215900" cy="215900"/>
          </a:xfrm>
          <a:prstGeom prst="ellipse">
            <a:avLst/>
          </a:prstGeom>
          <a:solidFill>
            <a:schemeClr val="accent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0F142B0-DD3E-51EA-AEB4-0750C6D76BE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10823575" y="1446213"/>
            <a:ext cx="7048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ED13EA56-1A4D-4367-8174-DDDEA7B3113D}" type="datetime'''Av''''i''a''''''''''''''''''''''''t''''''''i''''''o''n'''''">
              <a:rPr lang="en-GB" altLang="en-US" sz="1600" smtClean="0"/>
              <a:pPr/>
              <a:t>Aviation</a:t>
            </a:fld>
            <a:endParaRPr lang="en-GB" sz="1600" dirty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B72806EA-7087-FDED-818F-D2EC4983D20A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10823575" y="1728788"/>
            <a:ext cx="10191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9A6998D7-EB95-453F-A2BD-F75E038BC244}" type="datetime'''''O''i''l'''''' ''a''nd'''''' Gas'''''''''">
              <a:rPr lang="en-GB" altLang="en-US" sz="1600" smtClean="0"/>
              <a:pPr/>
              <a:t>Oil and Gas</a:t>
            </a:fld>
            <a:endParaRPr lang="en-GB" sz="1600" dirty="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86C3CD30-7DBA-D0BE-D527-8F8268FD196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10823575" y="2011363"/>
            <a:ext cx="10175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22A86986-F56C-4ED8-8F8B-D2F6D6EDCB9D}" type="datetime'A''''''''''''''ut''''''om''''''o''''''''bil''''''e'''''''''">
              <a:rPr lang="en-GB" altLang="en-US" sz="1600" smtClean="0"/>
              <a:pPr/>
              <a:t>Automobile</a:t>
            </a:fld>
            <a:endParaRPr lang="en-GB" sz="1600" dirty="0"/>
          </a:p>
        </p:txBody>
      </p:sp>
      <p:sp>
        <p:nvSpPr>
          <p:cNvPr id="345" name="Oval 344">
            <a:extLst>
              <a:ext uri="{FF2B5EF4-FFF2-40B4-BE49-F238E27FC236}">
                <a16:creationId xmlns:a16="http://schemas.microsoft.com/office/drawing/2014/main" id="{15DF06B0-23A3-A1B5-677A-A7569432ACC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526713" y="3789363"/>
            <a:ext cx="552450" cy="552450"/>
          </a:xfrm>
          <a:prstGeom prst="ellipse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43" name="Text Placeholder 2">
            <a:extLst>
              <a:ext uri="{FF2B5EF4-FFF2-40B4-BE49-F238E27FC236}">
                <a16:creationId xmlns:a16="http://schemas.microsoft.com/office/drawing/2014/main" id="{C448E254-9E0D-0C82-10A3-E6C21DF88CE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1129963" y="3971925"/>
            <a:ext cx="3238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E930F8DE-9CFA-4034-B10B-68AFA154058B}" type="datetime'''''''1''''''0''''''''''0'''''''">
              <a:rPr lang="en-GB" altLang="en-US" sz="1600" smtClean="0"/>
              <a:pPr/>
              <a:t>100</a:t>
            </a:fld>
            <a:endParaRPr lang="en-GB" sz="1600" dirty="0"/>
          </a:p>
        </p:txBody>
      </p:sp>
      <p:sp>
        <p:nvSpPr>
          <p:cNvPr id="376" name="Oval 375">
            <a:extLst>
              <a:ext uri="{FF2B5EF4-FFF2-40B4-BE49-F238E27FC236}">
                <a16:creationId xmlns:a16="http://schemas.microsoft.com/office/drawing/2014/main" id="{F3B17CC1-5ED7-882D-1DC0-696EB31D9449}"/>
              </a:ext>
            </a:extLst>
          </p:cNvPr>
          <p:cNvSpPr/>
          <p:nvPr/>
        </p:nvSpPr>
        <p:spPr bwMode="auto">
          <a:xfrm>
            <a:off x="10701049" y="3438779"/>
            <a:ext cx="177800" cy="177800"/>
          </a:xfrm>
          <a:prstGeom prst="ellipse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id="{5CAF8A93-6E07-97D3-CBF7-7B119A56C0EA}"/>
              </a:ext>
            </a:extLst>
          </p:cNvPr>
          <p:cNvSpPr txBox="1">
            <a:spLocks/>
          </p:cNvSpPr>
          <p:nvPr/>
        </p:nvSpPr>
        <p:spPr bwMode="auto">
          <a:xfrm>
            <a:off x="11126211" y="3447797"/>
            <a:ext cx="190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GB" sz="1600" dirty="0"/>
              <a:t>10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26291963-4653-0872-9021-A259FD94EB3F}"/>
              </a:ext>
            </a:extLst>
          </p:cNvPr>
          <p:cNvSpPr txBox="1"/>
          <p:nvPr/>
        </p:nvSpPr>
        <p:spPr>
          <a:xfrm>
            <a:off x="10509250" y="1035050"/>
            <a:ext cx="1162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b="1" dirty="0"/>
              <a:t>Sector</a:t>
            </a:r>
          </a:p>
        </p:txBody>
      </p:sp>
      <p:sp>
        <p:nvSpPr>
          <p:cNvPr id="407" name="TextBox 406">
            <a:extLst>
              <a:ext uri="{FF2B5EF4-FFF2-40B4-BE49-F238E27FC236}">
                <a16:creationId xmlns:a16="http://schemas.microsoft.com/office/drawing/2014/main" id="{3F30EA9F-B4EB-EA9F-8FB5-80D762459971}"/>
              </a:ext>
            </a:extLst>
          </p:cNvPr>
          <p:cNvSpPr txBox="1"/>
          <p:nvPr/>
        </p:nvSpPr>
        <p:spPr>
          <a:xfrm>
            <a:off x="10318173" y="2680206"/>
            <a:ext cx="17722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600" b="1" dirty="0"/>
              <a:t>Ratio ETS Costs/  Offsetting Costs</a:t>
            </a:r>
          </a:p>
        </p:txBody>
      </p:sp>
    </p:spTree>
    <p:extLst>
      <p:ext uri="{BB962C8B-B14F-4D97-AF65-F5344CB8AC3E}">
        <p14:creationId xmlns:p14="http://schemas.microsoft.com/office/powerpoint/2010/main" val="3877030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5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'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jDGpVP.8YrJk.BV4rm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KsO7Im72dQ99koELnb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442icTNJT3dLJsvrh5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qVn2cK4mNWltsLBqoe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cYlTs6L7cYKBoJ0LNC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BUnsklrSJE3hPMfSbe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PgTHu76hm2Gv5qcrty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etc0WkUNTcsUNMQ3.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gr1KIdB4kUY3nD7oOw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WbTzy8KsOnOkt8_v84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hk_03n1FBP6FNDK3G9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Ck2x8KLsv_woUoPQiV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kzuPmy1F9TV7sKKJKt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OKxPnhJEa5JXyVw5AA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xmcn9lJ2B9zqZ6NyJr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5ZS8p1YPPimwBXMeN1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x.LRd5x0l3HktRXto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396KLpgxdUwGufjyZ1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FdyTfxX3anTAtDVh5U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4E7RL_LC4IVSK7e9I0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dHVc5GmImorK.ENg0q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a_bFjMpZhtHOsKHb2p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RBKNPpKdkxALXTG58q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D5ckhXyckc9nTl6qu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2_bjJnC8pA_BWN5Aots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5</TotalTime>
  <Words>25</Words>
  <Application>Microsoft Macintosh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olz  Niklas</dc:creator>
  <cp:lastModifiedBy>Stolz  Niklas</cp:lastModifiedBy>
  <cp:revision>4</cp:revision>
  <dcterms:created xsi:type="dcterms:W3CDTF">2024-09-23T09:39:40Z</dcterms:created>
  <dcterms:modified xsi:type="dcterms:W3CDTF">2024-10-22T15:24:56Z</dcterms:modified>
</cp:coreProperties>
</file>